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57" r:id="rId2"/>
    <p:sldId id="271" r:id="rId3"/>
    <p:sldId id="275" r:id="rId4"/>
    <p:sldId id="259" r:id="rId5"/>
    <p:sldId id="277" r:id="rId6"/>
    <p:sldId id="267" r:id="rId7"/>
    <p:sldId id="269" r:id="rId8"/>
    <p:sldId id="279" r:id="rId9"/>
    <p:sldId id="278" r:id="rId10"/>
    <p:sldId id="260" r:id="rId11"/>
    <p:sldId id="270" r:id="rId12"/>
    <p:sldId id="276" r:id="rId13"/>
    <p:sldId id="274" r:id="rId14"/>
    <p:sldId id="272" r:id="rId15"/>
    <p:sldId id="268" r:id="rId1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4" autoAdjust="0"/>
    <p:restoredTop sz="92935" autoAdjust="0"/>
  </p:normalViewPr>
  <p:slideViewPr>
    <p:cSldViewPr snapToGrid="0">
      <p:cViewPr>
        <p:scale>
          <a:sx n="89" d="100"/>
          <a:sy n="89" d="100"/>
        </p:scale>
        <p:origin x="593" y="34"/>
      </p:cViewPr>
      <p:guideLst/>
    </p:cSldViewPr>
  </p:slideViewPr>
  <p:outlineViewPr>
    <p:cViewPr>
      <p:scale>
        <a:sx n="33" d="100"/>
        <a:sy n="33" d="100"/>
      </p:scale>
      <p:origin x="0" y="-23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3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189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77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60D5525-F0ED-493B-A60C-21641FBC4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5B528D-E214-474B-B8CE-7C3F24BF6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3EEA17-ADF6-44B8-B892-9C8865FCD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8A97FF-4EC2-4048-B919-4F194BC2E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419A7AB9-F437-4769-B606-A63B78A731F4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64846609-40EA-4AF3-9271-2C4933621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AD083073-A6C5-4ADF-A0FD-5C865A7D7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724D70D2-1EC0-4475-980B-EFB27CE47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FBDFF64A-20CE-472C-9421-45F108152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6872212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eroku</a:t>
            </a:r>
          </a:p>
          <a:p>
            <a:pPr lvl="1"/>
            <a:r>
              <a:rPr lang="en-US" dirty="0"/>
              <a:t>Cloud Application Platform based on a managed container system</a:t>
            </a:r>
          </a:p>
          <a:p>
            <a:pPr lvl="1"/>
            <a:r>
              <a:rPr lang="en-US" dirty="0"/>
              <a:t>Platform as a service (PaaS)</a:t>
            </a:r>
          </a:p>
          <a:p>
            <a:pPr lvl="1"/>
            <a:r>
              <a:rPr lang="en-US" dirty="0"/>
              <a:t>Integrated data services and powerful ecosystem</a:t>
            </a:r>
          </a:p>
          <a:p>
            <a:pPr lvl="1"/>
            <a:r>
              <a:rPr lang="en-US" dirty="0"/>
              <a:t>App-centric approach for software delivery</a:t>
            </a:r>
          </a:p>
          <a:p>
            <a:pPr lvl="1"/>
            <a:r>
              <a:rPr lang="en-US" dirty="0"/>
              <a:t>	</a:t>
            </a:r>
          </a:p>
          <a:p>
            <a:pPr lvl="1"/>
            <a:r>
              <a:rPr lang="en-US" dirty="0"/>
              <a:t>Allows us to build, run and operate our app entirely in the clou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A3E26-F389-4B4B-A7AA-F3D31C238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ing Encryption Alternati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64E63-FB41-4A4C-AD57-71F0CE08C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1282B-EB8C-436D-9426-855F0536B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7A21B640-01C9-49D4-9322-0569DCD4378D}"/>
              </a:ext>
            </a:extLst>
          </p:cNvPr>
          <p:cNvGrpSpPr>
            <a:grpSpLocks/>
          </p:cNvGrpSpPr>
          <p:nvPr/>
        </p:nvGrpSpPr>
        <p:grpSpPr bwMode="auto">
          <a:xfrm>
            <a:off x="1169393" y="873321"/>
            <a:ext cx="3294261" cy="3600400"/>
            <a:chOff x="300" y="872"/>
            <a:chExt cx="1847" cy="3931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0BADBD83-B447-4283-9130-504F33BA91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>
                <a:tabLst>
                  <a:tab pos="2513013" algn="l"/>
                </a:tabLst>
              </a:pPr>
              <a:r>
                <a:rPr lang="en-US" sz="1050" b="1" dirty="0">
                  <a:solidFill>
                    <a:srgbClr val="FFFFFF"/>
                  </a:solidFill>
                </a:rPr>
                <a:t>Systematic-Key Encryption (e.g. AES)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BA10DF-97B8-46FB-BC7F-7B6855AB1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732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Reversible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: weak and highly vulnerable in the case of a hacked Database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128BE839-BAC8-473A-AFFC-F39A083B08C8}"/>
              </a:ext>
            </a:extLst>
          </p:cNvPr>
          <p:cNvGrpSpPr>
            <a:grpSpLocks/>
          </p:cNvGrpSpPr>
          <p:nvPr/>
        </p:nvGrpSpPr>
        <p:grpSpPr bwMode="auto">
          <a:xfrm>
            <a:off x="4670030" y="873321"/>
            <a:ext cx="3294261" cy="3600400"/>
            <a:chOff x="300" y="872"/>
            <a:chExt cx="1847" cy="3931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41A46EB4-A2C7-4077-9947-1E3DF27E5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381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Hash Function (e.g. RSA, blowfish)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55DEF1-95F7-4204-B9DF-349D06C68B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732"/>
            </a:xfrm>
            <a:prstGeom prst="rect">
              <a:avLst/>
            </a:pr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rreversible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: robust and resistant brute force attacks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lish is slower than RSA (this is good)</a:t>
              </a:r>
            </a:p>
            <a:p>
              <a:pPr marL="452343" lvl="3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dd salt to protect against Rainow Tables (pre-computed hashes)</a:t>
              </a:r>
            </a:p>
            <a:p>
              <a:pPr marL="230188" lvl="2" indent="-117475" defTabSz="718463">
                <a:lnSpc>
                  <a:spcPct val="106000"/>
                </a:lnSpc>
                <a:spcBef>
                  <a:spcPts val="432"/>
                </a:spcBef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mplementation: simple with Bcrypt</a:t>
              </a:r>
            </a:p>
            <a:p>
              <a:pPr marL="452343" lvl="3" indent="-171450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 Easy blowflish package for C#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Obtained with Nuget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89">
            <a:extLst>
              <a:ext uri="{FF2B5EF4-FFF2-40B4-BE49-F238E27FC236}">
                <a16:creationId xmlns:a16="http://schemas.microsoft.com/office/drawing/2014/main" id="{EDBD6329-3D34-4655-9A38-4D6CD5041A3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2" name="AutoShape 90">
              <a:extLst>
                <a:ext uri="{FF2B5EF4-FFF2-40B4-BE49-F238E27FC236}">
                  <a16:creationId xmlns:a16="http://schemas.microsoft.com/office/drawing/2014/main" id="{53E89711-8A6C-485B-A44F-E262EF384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1">
              <a:extLst>
                <a:ext uri="{FF2B5EF4-FFF2-40B4-BE49-F238E27FC236}">
                  <a16:creationId xmlns:a16="http://schemas.microsoft.com/office/drawing/2014/main" id="{130485AE-0B9A-4EB0-8316-80B3E96B6B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2">
              <a:extLst>
                <a:ext uri="{FF2B5EF4-FFF2-40B4-BE49-F238E27FC236}">
                  <a16:creationId xmlns:a16="http://schemas.microsoft.com/office/drawing/2014/main" id="{50DD37AB-A200-426D-BC11-C0C631463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3">
              <a:extLst>
                <a:ext uri="{FF2B5EF4-FFF2-40B4-BE49-F238E27FC236}">
                  <a16:creationId xmlns:a16="http://schemas.microsoft.com/office/drawing/2014/main" id="{89969121-A38E-4B0F-A3E8-DBF833FFF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129279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D1D6A-EBA0-4371-80DC-0AEED3308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sh Function Encryp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F7CC9D-72D8-4F52-8CEB-115691CB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3B7DE4-A4BE-47EB-8469-2C3C3379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B0FA30-53A6-491C-B711-B4E96DCD1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10946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Deterministic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4054060-759D-4A74-BDB7-357624750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10946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re-image </a:t>
            </a:r>
          </a:p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E796D9-E2ED-4FD0-83D0-9EA50413F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1094686"/>
            <a:ext cx="1142801" cy="10287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Adaptive </a:t>
            </a:r>
          </a:p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6033C8-978F-41DE-9042-00C5BF194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assword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hashing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6754E7-D25A-4379-B68D-163DE91566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32663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OpenBSD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DD01AD-C7A4-40FC-B1A8-2EA6672A2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t to 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ainbow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table attac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0BE4F0-6B5F-40C6-A2F8-66563C6CAF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ast block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ciph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90040E-4408-44F4-8B2C-AA19425AB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218053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Collision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DD19C1-04C6-4C68-A0F6-BFBD2EF71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Small memory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ootprint</a:t>
            </a:r>
          </a:p>
        </p:txBody>
      </p:sp>
      <p:sp>
        <p:nvSpPr>
          <p:cNvPr id="14" name="AutoShape 12">
            <a:extLst>
              <a:ext uri="{FF2B5EF4-FFF2-40B4-BE49-F238E27FC236}">
                <a16:creationId xmlns:a16="http://schemas.microsoft.com/office/drawing/2014/main" id="{44C90306-4765-4206-A3F7-19C3EFFF0F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9511" y="1094686"/>
            <a:ext cx="273447" cy="3200400"/>
          </a:xfrm>
          <a:prstGeom prst="homePlate">
            <a:avLst>
              <a:gd name="adj" fmla="val 100000"/>
            </a:avLst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tIns="68580" bIns="68580" anchor="ctr"/>
          <a:lstStyle/>
          <a:p>
            <a:pPr algn="ctr"/>
            <a:endParaRPr lang="en-GB" sz="1050"/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4B1A9823-FB2C-493D-B8EE-F54113E3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899" y="1094687"/>
            <a:ext cx="1542653" cy="323969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Secure Online </a:t>
            </a:r>
          </a:p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Teller Machine</a:t>
            </a:r>
          </a:p>
        </p:txBody>
      </p:sp>
      <p:grpSp>
        <p:nvGrpSpPr>
          <p:cNvPr id="16" name="Group 89">
            <a:extLst>
              <a:ext uri="{FF2B5EF4-FFF2-40B4-BE49-F238E27FC236}">
                <a16:creationId xmlns:a16="http://schemas.microsoft.com/office/drawing/2014/main" id="{6B064F14-8ED3-4B7C-B76D-3F317DF71CB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7" name="AutoShape 90">
              <a:extLst>
                <a:ext uri="{FF2B5EF4-FFF2-40B4-BE49-F238E27FC236}">
                  <a16:creationId xmlns:a16="http://schemas.microsoft.com/office/drawing/2014/main" id="{E8E004F8-1E30-4C9B-BCD7-88F90F324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8" name="AutoShape 91">
              <a:extLst>
                <a:ext uri="{FF2B5EF4-FFF2-40B4-BE49-F238E27FC236}">
                  <a16:creationId xmlns:a16="http://schemas.microsoft.com/office/drawing/2014/main" id="{D3ED2936-1C50-4C5F-B75E-26603D240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9" name="AutoShape 92">
              <a:extLst>
                <a:ext uri="{FF2B5EF4-FFF2-40B4-BE49-F238E27FC236}">
                  <a16:creationId xmlns:a16="http://schemas.microsoft.com/office/drawing/2014/main" id="{E4C8AEC3-B9B2-40A6-843B-C2BCEC4DD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3">
              <a:extLst>
                <a:ext uri="{FF2B5EF4-FFF2-40B4-BE49-F238E27FC236}">
                  <a16:creationId xmlns:a16="http://schemas.microsoft.com/office/drawing/2014/main" id="{692B0CCF-94E5-4923-8418-9BD6BC131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95882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 marL="171450" indent="-171450">
              <a:buFont typeface="+mj-lt"/>
              <a:buAutoNum type="arabicPeriod"/>
            </a:pPr>
            <a:endParaRPr lang="en-US" sz="1400" dirty="0"/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User enters PIN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hashes the PIN using Blowfish algorithm (with salt)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sends [Hashed PIN + salt] to 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Signup: </a:t>
            </a:r>
            <a:r>
              <a:rPr lang="en-US" sz="1400" dirty="0">
                <a:solidFill>
                  <a:schemeClr val="bg1"/>
                </a:solidFill>
              </a:rPr>
              <a:t>Server stores [Hashed PIN + salt] in database</a:t>
            </a: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Login:</a:t>
            </a:r>
            <a:r>
              <a:rPr lang="en-US" sz="1400" dirty="0">
                <a:solidFill>
                  <a:schemeClr val="bg1"/>
                </a:solidFill>
              </a:rPr>
              <a:t> Server verifies Hashed PIN against value in database</a:t>
            </a:r>
            <a:endParaRPr lang="en-US" sz="1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Pot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79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73510"/>
            <a:ext cx="1660029" cy="3600400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73510"/>
            <a:ext cx="1661319" cy="3600400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73510"/>
            <a:ext cx="1661319" cy="3600400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73510"/>
            <a:ext cx="1660028" cy="3600400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93731-B6D0-4120-9237-B6FEC807D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0AD65F-8875-42A1-B847-2AB5B518D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0F7B23-9327-4840-838B-D96D17AA9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5" name="Group 3">
            <a:extLst>
              <a:ext uri="{FF2B5EF4-FFF2-40B4-BE49-F238E27FC236}">
                <a16:creationId xmlns:a16="http://schemas.microsoft.com/office/drawing/2014/main" id="{1AE51934-E3AA-477D-B1F2-24C34FB304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426663"/>
              </p:ext>
            </p:extLst>
          </p:nvPr>
        </p:nvGraphicFramePr>
        <p:xfrm>
          <a:off x="1179710" y="1340303"/>
          <a:ext cx="6623260" cy="3274895"/>
        </p:xfrm>
        <a:graphic>
          <a:graphicData uri="http://schemas.openxmlformats.org/drawingml/2006/table">
            <a:tbl>
              <a:tblPr/>
              <a:tblGrid>
                <a:gridCol w="1655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58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58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58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534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7160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oud-based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ore Alternativ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7160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urity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sh Func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7160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AutoShape 32">
            <a:extLst>
              <a:ext uri="{FF2B5EF4-FFF2-40B4-BE49-F238E27FC236}">
                <a16:creationId xmlns:a16="http://schemas.microsoft.com/office/drawing/2014/main" id="{5C0BB23B-FD5F-40FF-BD44-91C9AF28DB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103" y="856343"/>
            <a:ext cx="1793025" cy="438150"/>
          </a:xfrm>
          <a:prstGeom prst="chevron">
            <a:avLst>
              <a:gd name="adj" fmla="val 34952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Core Functionality</a:t>
            </a:r>
          </a:p>
        </p:txBody>
      </p:sp>
      <p:sp>
        <p:nvSpPr>
          <p:cNvPr id="7" name="AutoShape 33">
            <a:extLst>
              <a:ext uri="{FF2B5EF4-FFF2-40B4-BE49-F238E27FC236}">
                <a16:creationId xmlns:a16="http://schemas.microsoft.com/office/drawing/2014/main" id="{7EA527C2-BAC6-4E8F-8F87-475053ADA2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3286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8" name="AutoShape 34">
            <a:extLst>
              <a:ext uri="{FF2B5EF4-FFF2-40B4-BE49-F238E27FC236}">
                <a16:creationId xmlns:a16="http://schemas.microsoft.com/office/drawing/2014/main" id="{2C53D9A4-EB50-4F16-8EF2-59C3E4E152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762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Database</a:t>
            </a:r>
          </a:p>
        </p:txBody>
      </p:sp>
      <p:sp>
        <p:nvSpPr>
          <p:cNvPr id="9" name="AutoShape 35">
            <a:extLst>
              <a:ext uri="{FF2B5EF4-FFF2-40B4-BE49-F238E27FC236}">
                <a16:creationId xmlns:a16="http://schemas.microsoft.com/office/drawing/2014/main" id="{533689AF-1CEC-46D9-9C51-E7CC01A5C7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2377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Encryption</a:t>
            </a:r>
          </a:p>
        </p:txBody>
      </p:sp>
    </p:spTree>
    <p:extLst>
      <p:ext uri="{BB962C8B-B14F-4D97-AF65-F5344CB8AC3E}">
        <p14:creationId xmlns:p14="http://schemas.microsoft.com/office/powerpoint/2010/main" val="2746532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392819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66453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User Accounts</a:t>
            </a:r>
          </a:p>
          <a:p>
            <a:pPr marL="342900" lvl="1" indent="-169863"/>
            <a:r>
              <a:rPr lang="en-US" sz="1700" dirty="0"/>
              <a:t>First Name</a:t>
            </a:r>
          </a:p>
          <a:p>
            <a:pPr marL="342900" lvl="1" indent="-169863"/>
            <a:r>
              <a:rPr lang="en-US" sz="1700" dirty="0"/>
              <a:t>Last Name</a:t>
            </a:r>
          </a:p>
          <a:p>
            <a:pPr marL="342900" lvl="1" indent="-169863"/>
            <a:r>
              <a:rPr lang="en-US" sz="1700" dirty="0"/>
              <a:t>PIN Code</a:t>
            </a:r>
          </a:p>
          <a:p>
            <a:pPr marL="342900" lvl="1" indent="-169863"/>
            <a:r>
              <a:rPr lang="en-US" sz="1700" dirty="0"/>
              <a:t>Account Balance</a:t>
            </a:r>
          </a:p>
          <a:p>
            <a:pPr marL="0" indent="0">
              <a:buNone/>
            </a:pPr>
            <a:r>
              <a:rPr lang="en-US" dirty="0"/>
              <a:t>Services</a:t>
            </a:r>
          </a:p>
          <a:p>
            <a:pPr marL="342900" lvl="1" indent="-169863"/>
            <a:r>
              <a:rPr lang="en-US" sz="1700" dirty="0"/>
              <a:t>Withdrawals</a:t>
            </a:r>
          </a:p>
          <a:p>
            <a:pPr marL="630238" lvl="2" indent="-173038"/>
            <a:r>
              <a:rPr lang="en-US" dirty="0"/>
              <a:t>Multiples of $20</a:t>
            </a:r>
          </a:p>
          <a:p>
            <a:pPr marL="630238" lvl="2" indent="-173038"/>
            <a:r>
              <a:rPr lang="en-US" dirty="0"/>
              <a:t>Quick withdrawal options from $20 - $100</a:t>
            </a:r>
          </a:p>
          <a:p>
            <a:pPr marL="630238" lvl="2" indent="-173038"/>
            <a:r>
              <a:rPr lang="en-US" dirty="0"/>
              <a:t>Manual for amounts larger than $100</a:t>
            </a:r>
          </a:p>
          <a:p>
            <a:pPr marL="342900" lvl="1" indent="-169863"/>
            <a:r>
              <a:rPr lang="en-US" sz="1700" dirty="0"/>
              <a:t>Deposits</a:t>
            </a:r>
          </a:p>
          <a:p>
            <a:pPr marL="630238" lvl="2" indent="-173038"/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A788E4D-8681-4ECA-89B1-2FA6A4983E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de Document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E7C6BC-68B4-42B8-B1C1-773812D15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7659F8-6188-439F-8042-BAACD47E2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F88ABD-EA64-4B20-A311-1D97B1BC1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9B072982-87C4-4467-83DF-6B9DC233ECF5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FE9BB3CB-ABF7-4618-AA48-B307E38A2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14523463-8C13-48FB-A2EC-02CF6C535D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D8997C58-47BA-4E8A-BDE8-0855A9576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9F94FCF5-08E5-46E4-971B-FB20A02B67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656510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758" y="837549"/>
            <a:ext cx="3383280" cy="14995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4832" y="2497366"/>
            <a:ext cx="3383280" cy="2080236"/>
          </a:xfrm>
          <a:prstGeom prst="rect">
            <a:avLst/>
          </a:prstGeom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414FE0-7A1D-45C5-99BD-2504669015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6374" y="1709597"/>
            <a:ext cx="3931920" cy="2126764"/>
          </a:xfrm>
          <a:prstGeom prst="rect">
            <a:avLst/>
          </a:prstGeom>
        </p:spPr>
      </p:pic>
      <p:grpSp>
        <p:nvGrpSpPr>
          <p:cNvPr id="13" name="Group 89">
            <a:extLst>
              <a:ext uri="{FF2B5EF4-FFF2-40B4-BE49-F238E27FC236}">
                <a16:creationId xmlns:a16="http://schemas.microsoft.com/office/drawing/2014/main" id="{998DB620-6320-4052-9704-E34233CD3DA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4" name="AutoShape 90">
              <a:extLst>
                <a:ext uri="{FF2B5EF4-FFF2-40B4-BE49-F238E27FC236}">
                  <a16:creationId xmlns:a16="http://schemas.microsoft.com/office/drawing/2014/main" id="{014E9C4A-F42C-42D4-B491-31877CA3B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1">
              <a:extLst>
                <a:ext uri="{FF2B5EF4-FFF2-40B4-BE49-F238E27FC236}">
                  <a16:creationId xmlns:a16="http://schemas.microsoft.com/office/drawing/2014/main" id="{C82F0309-2A06-4285-8724-9C492A05C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6" name="AutoShape 92">
              <a:extLst>
                <a:ext uri="{FF2B5EF4-FFF2-40B4-BE49-F238E27FC236}">
                  <a16:creationId xmlns:a16="http://schemas.microsoft.com/office/drawing/2014/main" id="{EEAAE796-4822-4130-B01A-7C3F82CEE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7" name="AutoShape 93">
              <a:extLst>
                <a:ext uri="{FF2B5EF4-FFF2-40B4-BE49-F238E27FC236}">
                  <a16:creationId xmlns:a16="http://schemas.microsoft.com/office/drawing/2014/main" id="{24C88728-1B89-4129-A216-917210FEF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6439989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5F4B677-C096-484A-8232-53D730D581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904DFD-F6ED-4D09-AD00-9957689A6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362256-95FC-42F8-B14E-A28E301EC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4E5DDE-8862-4CE2-9091-AD591B14A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D70537-7CE1-4D1D-B1ED-8A64A796585B}"/>
              </a:ext>
            </a:extLst>
          </p:cNvPr>
          <p:cNvSpPr/>
          <p:nvPr/>
        </p:nvSpPr>
        <p:spPr>
          <a:xfrm>
            <a:off x="5606249" y="1442621"/>
            <a:ext cx="2712128" cy="20463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64230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B20DFC-F3EF-4C41-B3B9-B0B3C4331A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 Bala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5CAC37B-D1AF-4D25-8001-8A3A837ACFE2}"/>
              </a:ext>
            </a:extLst>
          </p:cNvPr>
          <p:cNvSpPr/>
          <p:nvPr/>
        </p:nvSpPr>
        <p:spPr>
          <a:xfrm>
            <a:off x="5606249" y="1442621"/>
            <a:ext cx="2712128" cy="20463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071473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36</TotalTime>
  <Words>439</Words>
  <Application>Microsoft Office PowerPoint</Application>
  <PresentationFormat>On-screen Show (16:9)</PresentationFormat>
  <Paragraphs>188</Paragraphs>
  <Slides>1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ＭＳ Ｐゴシック</vt:lpstr>
      <vt:lpstr>Arial</vt:lpstr>
      <vt:lpstr>Bookman Old Style</vt:lpstr>
      <vt:lpstr>Calibri</vt:lpstr>
      <vt:lpstr>Courier New</vt:lpstr>
      <vt:lpstr>Gill Sans MT</vt:lpstr>
      <vt:lpstr>Times New Roman</vt:lpstr>
      <vt:lpstr>Wingdings</vt:lpstr>
      <vt:lpstr>Wingdings 2</vt:lpstr>
      <vt:lpstr>Office Theme</vt:lpstr>
      <vt:lpstr>ATM Project</vt:lpstr>
      <vt:lpstr>Overview</vt:lpstr>
      <vt:lpstr>Overview</vt:lpstr>
      <vt:lpstr>Core Functionality</vt:lpstr>
      <vt:lpstr>Core Functionality</vt:lpstr>
      <vt:lpstr>Login Screen and Validation</vt:lpstr>
      <vt:lpstr>Sign Up Screen</vt:lpstr>
      <vt:lpstr>Main Interface</vt:lpstr>
      <vt:lpstr>View Balance</vt:lpstr>
      <vt:lpstr>User Interface</vt:lpstr>
      <vt:lpstr>Database</vt:lpstr>
      <vt:lpstr>Exploring Encryption Alternatives</vt:lpstr>
      <vt:lpstr>Hash Function Encryption</vt:lpstr>
      <vt:lpstr>Encryption and Security</vt:lpstr>
      <vt:lpstr>Further Potenti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Bryce Yoo</cp:lastModifiedBy>
  <cp:revision>295</cp:revision>
  <dcterms:created xsi:type="dcterms:W3CDTF">2017-10-26T16:02:00Z</dcterms:created>
  <dcterms:modified xsi:type="dcterms:W3CDTF">2018-03-06T01:39:26Z</dcterms:modified>
</cp:coreProperties>
</file>